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3"/>
  </p:notesMasterIdLst>
  <p:sldIdLst>
    <p:sldId id="2147475198" r:id="rId5"/>
    <p:sldId id="2147475199" r:id="rId6"/>
    <p:sldId id="2147475200" r:id="rId7"/>
    <p:sldId id="2147475201" r:id="rId8"/>
    <p:sldId id="2147475174" r:id="rId9"/>
    <p:sldId id="2147475202" r:id="rId10"/>
    <p:sldId id="2147475170" r:id="rId11"/>
    <p:sldId id="2147475171" r:id="rId12"/>
    <p:sldId id="2147475178" r:id="rId13"/>
    <p:sldId id="2147475179" r:id="rId14"/>
    <p:sldId id="2147475204" r:id="rId15"/>
    <p:sldId id="2147475175" r:id="rId16"/>
    <p:sldId id="2147475182" r:id="rId17"/>
    <p:sldId id="2147475177" r:id="rId18"/>
    <p:sldId id="2147475205" r:id="rId19"/>
    <p:sldId id="2147475185" r:id="rId20"/>
    <p:sldId id="2147475203"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C577682-E234-4B09-A120-FC1403733E5C}">
          <p14:sldIdLst>
            <p14:sldId id="2147475198"/>
            <p14:sldId id="2147475199"/>
            <p14:sldId id="2147475200"/>
            <p14:sldId id="2147475201"/>
            <p14:sldId id="2147475174"/>
            <p14:sldId id="2147475202"/>
            <p14:sldId id="2147475170"/>
            <p14:sldId id="2147475171"/>
            <p14:sldId id="2147475178"/>
            <p14:sldId id="2147475179"/>
            <p14:sldId id="2147475204"/>
            <p14:sldId id="2147475175"/>
            <p14:sldId id="2147475182"/>
            <p14:sldId id="2147475177"/>
            <p14:sldId id="2147475205"/>
            <p14:sldId id="2147475185"/>
            <p14:sldId id="2147475203"/>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8"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latin typeface="Nexa Bold" panose="00000800000000000000"/>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92200000000003</cx:pt>
          <cx:pt idx="1">2.1821955999999925</cx:pt>
          <cx:pt idx="2">-5.7249846999999976</cx:pt>
          <cx:pt idx="3">-0.0002108999999950356</cx:pt>
          <cx:pt idx="4">0.61599999999999999</cx:pt>
          <cx:pt idx="5">0</cx:pt>
          <cx:pt idx="6">269.99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4</cx:pt>
          <cx:pt idx="1">4</cx:pt>
          <cx:pt idx="2">0</cx:pt>
          <cx:pt idx="3">1.1920928955078126e-12</cx:pt>
          <cx:pt idx="4">0</cx:pt>
          <cx:pt idx="5">-1</cx:pt>
          <cx:pt idx="6">25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572999999999993</cx:pt>
          <cx:pt idx="1">1.2861841000000023</cx:pt>
          <cx:pt idx="2">-0.2341676</cx:pt>
          <cx:pt idx="3">-1.6500000002224625e-05</cx:pt>
          <cx:pt idx="4">0.217</cx:pt>
          <cx:pt idx="5">-1.272</cx:pt>
          <cx:pt idx="6">84.56999999999999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5</cx:pt>
          <cx:pt idx="1">12</cx:pt>
          <cx:pt idx="2">-65</cx:pt>
          <cx:pt idx="3">1.1920928955078126e-12</cx:pt>
          <cx:pt idx="4">0</cx:pt>
          <cx:pt idx="5">0</cx:pt>
          <cx:pt idx="6">631</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cx:pt>
          <cx:pt idx="1">5</cx:pt>
          <cx:pt idx="2">-16</cx:pt>
          <cx:pt idx="3">1.1920928955078126e-12</cx:pt>
          <cx:pt idx="4">0</cx:pt>
          <cx:pt idx="5">0</cx:pt>
          <cx:pt idx="6">27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cx:pt>
          <cx:pt idx="1">4</cx:pt>
          <cx:pt idx="2">-8</cx:pt>
          <cx:pt idx="3">1.1920928955078126e-12</cx:pt>
          <cx:pt idx="4">0</cx:pt>
          <cx:pt idx="5">0</cx:pt>
          <cx:pt idx="6">1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1.1920928955078126e-12</cx:pt>
          <cx:pt idx="4">0</cx:pt>
          <cx:pt idx="5">0</cx:pt>
          <cx:pt idx="6">16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cx:pt>
          <cx:pt idx="1">2</cx:pt>
          <cx:pt idx="2">-8</cx:pt>
          <cx:pt idx="3">1.1920928955078126e-12</cx:pt>
          <cx:pt idx="4">1</cx:pt>
          <cx:pt idx="5">0</cx:pt>
          <cx:pt idx="6">11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7</cx:pt>
          <cx:pt idx="1">-8</cx:pt>
          <cx:pt idx="2">12</cx:pt>
          <cx:pt idx="3">1.1920928955078126e-12</cx:pt>
          <cx:pt idx="4">0</cx:pt>
          <cx:pt idx="5">-1</cx:pt>
          <cx:pt idx="6">15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cx:pt>
          <cx:pt idx="1">-6</cx:pt>
          <cx:pt idx="2">-51</cx:pt>
          <cx:pt idx="3">1.1920928955078126e-12</cx:pt>
          <cx:pt idx="4">0</cx:pt>
          <cx:pt idx="5">-1</cx:pt>
          <cx:pt idx="6">146</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cx:pt>
          <cx:pt idx="1">0</cx:pt>
          <cx:pt idx="2">-1</cx:pt>
          <cx:pt idx="3">1.1920928955078126e-12</cx:pt>
          <cx:pt idx="4">0</cx:pt>
          <cx:pt idx="5">-1</cx:pt>
          <cx:pt idx="6">5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6</cx:pt>
          <cx:pt idx="1">-7</cx:pt>
          <cx:pt idx="2">3</cx:pt>
          <cx:pt idx="3">1.1920928955078126e-12</cx:pt>
          <cx:pt idx="4">0</cx:pt>
          <cx:pt idx="5">0</cx:pt>
          <cx:pt idx="6">93</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cx:pt>
          <cx:pt idx="1">1</cx:pt>
          <cx:pt idx="2">-8</cx:pt>
          <cx:pt idx="3">1.1920928955078126e-12</cx:pt>
          <cx:pt idx="4">0</cx:pt>
          <cx:pt idx="5">0</cx:pt>
          <cx:pt idx="6">3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cx:pt>
          <cx:pt idx="1">-1</cx:pt>
          <cx:pt idx="2">-110</cx:pt>
          <cx:pt idx="3">1.1920928955078126e-12</cx:pt>
          <cx:pt idx="4">1</cx:pt>
          <cx:pt idx="5">-1</cx:pt>
          <cx:pt idx="6">11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cx:pt>
          <cx:pt idx="1">0</cx:pt>
          <cx:pt idx="2">5</cx:pt>
          <cx:pt idx="3">1.1920928955078126e-12</cx:pt>
          <cx:pt idx="4">0</cx:pt>
          <cx:pt idx="5">0</cx:pt>
          <cx:pt idx="6">3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cx:pt>
          <cx:pt idx="1">-147</cx:pt>
          <cx:pt idx="2">61</cx:pt>
          <cx:pt idx="3">1.1920928955078126e-12</cx:pt>
          <cx:pt idx="4">2</cx:pt>
          <cx:pt idx="5">-2</cx:pt>
          <cx:pt idx="6">4907</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cx:pt>
          <cx:pt idx="1">20</cx:pt>
          <cx:pt idx="2">-86</cx:pt>
          <cx:pt idx="3">1.1920928955078126e-12</cx:pt>
          <cx:pt idx="4">0</cx:pt>
          <cx:pt idx="5">0</cx:pt>
          <cx:pt idx="6">146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cx:pt>
          <cx:pt idx="1">-77</cx:pt>
          <cx:pt idx="2">-6</cx:pt>
          <cx:pt idx="3">1.1920928955078126e-12</cx:pt>
          <cx:pt idx="4">6</cx:pt>
          <cx:pt idx="5">-1</cx:pt>
          <cx:pt idx="6">2148</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6</cx:pt>
          <cx:pt idx="1">12</cx:pt>
          <cx:pt idx="2">-38</cx:pt>
          <cx:pt idx="3">1.1920928955078126e-12</cx:pt>
          <cx:pt idx="4">0</cx:pt>
          <cx:pt idx="5">0</cx:pt>
          <cx:pt idx="6">84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8</cx:pt>
          <cx:pt idx="1">-129</cx:pt>
          <cx:pt idx="2">-63</cx:pt>
          <cx:pt idx="3">1.1920928955078126e-12</cx:pt>
          <cx:pt idx="4">1</cx:pt>
          <cx:pt idx="5">-3</cx:pt>
          <cx:pt idx="6">3453</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1</cx:pt>
          <cx:pt idx="1">20</cx:pt>
          <cx:pt idx="2">-102</cx:pt>
          <cx:pt idx="3">1.1920928955078126e-12</cx:pt>
          <cx:pt idx="4">0</cx:pt>
          <cx:pt idx="5">0</cx:pt>
          <cx:pt idx="6">1318</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cx:pt>
          <cx:pt idx="1">-102</cx:pt>
          <cx:pt idx="2">-350</cx:pt>
          <cx:pt idx="3">1.1920928955078126e-12</cx:pt>
          <cx:pt idx="4">2</cx:pt>
          <cx:pt idx="5">-1</cx:pt>
          <cx:pt idx="6">2734</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9</cx:pt>
          <cx:pt idx="1">14</cx:pt>
          <cx:pt idx="2">-80</cx:pt>
          <cx:pt idx="3">1.1920928955078126e-12</cx:pt>
          <cx:pt idx="4">0</cx:pt>
          <cx:pt idx="5">0</cx:pt>
          <cx:pt idx="6">1023</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3</cx:pt>
          <cx:pt idx="1">-100</cx:pt>
          <cx:pt idx="2">-70</cx:pt>
          <cx:pt idx="3">1.1920928955078126e-12</cx:pt>
          <cx:pt idx="4">0</cx:pt>
          <cx:pt idx="5">-1</cx:pt>
          <cx:pt idx="6">245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2</cx:pt>
          <cx:pt idx="1">14</cx:pt>
          <cx:pt idx="2">-73</cx:pt>
          <cx:pt idx="3">1.1920928955078126e-12</cx:pt>
          <cx:pt idx="4">0</cx:pt>
          <cx:pt idx="5">0</cx:pt>
          <cx:pt idx="6">1052</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9/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8/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8/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8/2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8/2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8/2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8/2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8/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8/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8/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8/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8/29/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40.png"/><Relationship Id="rId5" Type="http://schemas.microsoft.com/office/2014/relationships/chartEx" Target="../charts/chartEx20.xml"/><Relationship Id="rId4" Type="http://schemas.openxmlformats.org/officeDocument/2006/relationships/image" Target="../media/image430.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70.png"/><Relationship Id="rId5" Type="http://schemas.microsoft.com/office/2014/relationships/chartEx" Target="../charts/chartEx22.xml"/><Relationship Id="rId4" Type="http://schemas.openxmlformats.org/officeDocument/2006/relationships/image" Target="../media/image360.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390.png"/><Relationship Id="rId5" Type="http://schemas.microsoft.com/office/2014/relationships/chartEx" Target="../charts/chartEx24.xml"/><Relationship Id="rId4" Type="http://schemas.openxmlformats.org/officeDocument/2006/relationships/image" Target="../media/image380.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26.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8.xml"/><Relationship Id="rId4" Type="http://schemas.openxmlformats.org/officeDocument/2006/relationships/image" Target="../media/image410.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31.png"/><Relationship Id="rId5" Type="http://schemas.microsoft.com/office/2014/relationships/chartEx" Target="../charts/chartEx30.xml"/><Relationship Id="rId4" Type="http://schemas.openxmlformats.org/officeDocument/2006/relationships/image" Target="../media/image421.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32.xm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3.png"/><Relationship Id="rId5" Type="http://schemas.microsoft.com/office/2014/relationships/chartEx" Target="../charts/chartEx34.xml"/><Relationship Id="rId4" Type="http://schemas.openxmlformats.org/officeDocument/2006/relationships/image" Target="../media/image52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9.png"/><Relationship Id="rId5" Type="http://schemas.microsoft.com/office/2014/relationships/chartEx" Target="../charts/chartEx36.xml"/><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50.png"/><Relationship Id="rId5" Type="http://schemas.microsoft.com/office/2014/relationships/chartEx" Target="../charts/chartEx38.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56.png"/><Relationship Id="rId5" Type="http://schemas.microsoft.com/office/2014/relationships/chartEx" Target="../charts/chartEx40.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8.png"/><Relationship Id="rId5" Type="http://schemas.microsoft.com/office/2014/relationships/chartEx" Target="../charts/chartEx42.xml"/><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0.png"/><Relationship Id="rId5" Type="http://schemas.microsoft.com/office/2014/relationships/chartEx" Target="../charts/chartEx44.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2.png"/><Relationship Id="rId5" Type="http://schemas.microsoft.com/office/2014/relationships/chartEx" Target="../charts/chartEx46.xml"/><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4.png"/><Relationship Id="rId5" Type="http://schemas.microsoft.com/office/2014/relationships/chartEx" Target="../charts/chartEx48.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6.png"/><Relationship Id="rId5" Type="http://schemas.microsoft.com/office/2014/relationships/chartEx" Target="../charts/chartEx50.xml"/><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68.png"/><Relationship Id="rId5" Type="http://schemas.microsoft.com/office/2014/relationships/chartEx" Target="../charts/chartEx52.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70.png"/><Relationship Id="rId5" Type="http://schemas.microsoft.com/office/2014/relationships/chartEx" Target="../charts/chartEx54.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72.png"/><Relationship Id="rId5" Type="http://schemas.microsoft.com/office/2014/relationships/chartEx" Target="../charts/chartEx56.xml"/><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2.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1.png"/><Relationship Id="rId5" Type="http://schemas.microsoft.com/office/2014/relationships/chartEx" Target="../charts/chartEx14.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3.png"/><Relationship Id="rId5" Type="http://schemas.microsoft.com/office/2014/relationships/chartEx" Target="../charts/chartEx16.xml"/><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4.png"/><Relationship Id="rId5" Type="http://schemas.microsoft.com/office/2014/relationships/chartEx" Target="../charts/chartEx18.xml"/><Relationship Id="rId4" Type="http://schemas.openxmlformats.org/officeDocument/2006/relationships/image" Target="../media/image4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678990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8666047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4669845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00698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5017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22743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1054807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700434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296922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7232660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81103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81176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7560101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915562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595011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33005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3990148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93360923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191241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409520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4355908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55182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15886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621816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07741507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155773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088212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1177345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277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891338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2531464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3741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671565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2590993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86180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9229702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08537480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44870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749983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344194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05302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8027000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973978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646420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9950579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2093911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703304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Nicolas vs. </a:t>
            </a:r>
            <a:r>
              <a:rPr lang="en-US" dirty="0" err="1"/>
              <a:t>Ruinart</a:t>
            </a:r>
            <a:r>
              <a:rPr lang="en-US" dirty="0"/>
              <a:t> | </a:t>
            </a:r>
            <a:r>
              <a:rPr lang="en-US" dirty="0" err="1"/>
              <a:t>Effervescents</a:t>
            </a:r>
            <a:r>
              <a:rPr lang="en-US" dirty="0"/>
              <a:t>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914892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275024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733036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79843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1264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1742467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5200153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079094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80037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030570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308762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607578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8/29/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4019355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587696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469</TotalTime>
  <Words>1538</Words>
  <Application>Microsoft Office PowerPoint</Application>
  <PresentationFormat>On-screen Show (16:9)</PresentationFormat>
  <Paragraphs>224</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6</cp:revision>
  <dcterms:created xsi:type="dcterms:W3CDTF">2024-07-05T07:54:38Z</dcterms:created>
  <dcterms:modified xsi:type="dcterms:W3CDTF">2025-08-29T14:1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